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4"/>
    <p:sldMasterId id="2147483892" r:id="rId5"/>
    <p:sldMasterId id="2147484003" r:id="rId6"/>
    <p:sldMasterId id="2147484054" r:id="rId7"/>
  </p:sldMasterIdLst>
  <p:notesMasterIdLst>
    <p:notesMasterId r:id="rId18"/>
  </p:notesMasterIdLst>
  <p:handoutMasterIdLst>
    <p:handoutMasterId r:id="rId19"/>
  </p:handoutMasterIdLst>
  <p:sldIdLst>
    <p:sldId id="2142532184" r:id="rId8"/>
    <p:sldId id="318" r:id="rId9"/>
    <p:sldId id="319" r:id="rId10"/>
    <p:sldId id="313" r:id="rId11"/>
    <p:sldId id="321" r:id="rId12"/>
    <p:sldId id="322" r:id="rId13"/>
    <p:sldId id="323" r:id="rId14"/>
    <p:sldId id="324" r:id="rId15"/>
    <p:sldId id="294" r:id="rId16"/>
    <p:sldId id="329" r:id="rId17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203" userDrawn="1">
          <p15:clr>
            <a:srgbClr val="A4A3A4"/>
          </p15:clr>
        </p15:guide>
        <p15:guide id="3" orient="horz" pos="335" userDrawn="1">
          <p15:clr>
            <a:srgbClr val="A4A3A4"/>
          </p15:clr>
        </p15:guide>
        <p15:guide id="4" orient="horz" pos="190" userDrawn="1">
          <p15:clr>
            <a:srgbClr val="A4A3A4"/>
          </p15:clr>
        </p15:guide>
        <p15:guide id="5" pos="386" userDrawn="1">
          <p15:clr>
            <a:srgbClr val="A4A3A4"/>
          </p15:clr>
        </p15:guide>
        <p15:guide id="6" pos="7298" userDrawn="1">
          <p15:clr>
            <a:srgbClr val="A4A3A4"/>
          </p15:clr>
        </p15:guide>
        <p15:guide id="7" orient="horz" pos="709" userDrawn="1">
          <p15:clr>
            <a:srgbClr val="A4A3A4"/>
          </p15:clr>
        </p15:guide>
        <p15:guide id="8" orient="horz" pos="3886" userDrawn="1">
          <p15:clr>
            <a:srgbClr val="A4A3A4"/>
          </p15:clr>
        </p15:guide>
        <p15:guide id="9" orient="horz" pos="41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747480"/>
    <a:srgbClr val="2E2E38"/>
    <a:srgbClr val="FFFFFF"/>
    <a:srgbClr val="C4C4CD"/>
    <a:srgbClr val="808080"/>
    <a:srgbClr val="000000"/>
    <a:srgbClr val="FF9A91"/>
    <a:srgbClr val="FF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412572-1465-4ADE-B274-F8680F4710D7}" v="40" dt="2021-03-03T16:54:24.6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013" autoAdjust="0"/>
  </p:normalViewPr>
  <p:slideViewPr>
    <p:cSldViewPr snapToGrid="0" snapToObjects="1" showGuides="1">
      <p:cViewPr varScale="1">
        <p:scale>
          <a:sx n="72" d="100"/>
          <a:sy n="72" d="100"/>
        </p:scale>
        <p:origin x="618" y="66"/>
      </p:cViewPr>
      <p:guideLst>
        <p:guide orient="horz" pos="2160"/>
        <p:guide pos="5203"/>
        <p:guide orient="horz" pos="335"/>
        <p:guide orient="horz" pos="190"/>
        <p:guide pos="386"/>
        <p:guide pos="7298"/>
        <p:guide orient="horz" pos="709"/>
        <p:guide orient="horz" pos="3886"/>
        <p:guide orient="horz" pos="4178"/>
      </p:guideLst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50" d="100"/>
        <a:sy n="50" d="100"/>
      </p:scale>
      <p:origin x="0" y="-157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2-25T11:25:53.984" idx="475">
    <p:pos x="2800" y="517"/>
    <p:text>Note to the SME:
Please ensure to use the latest boilerplate. You can find it here:
https://eygb.sharepoint.com/sites/TheBrandingZone/SitePages/BoilerplateText.aspx</p:text>
    <p:extLst>
      <p:ext uri="{C676402C-5697-4E1C-873F-D02D1690AC5C}">
        <p15:threadingInfo xmlns:p15="http://schemas.microsoft.com/office/powerpoint/2012/main" timeZoneBias="-33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8/03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0766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803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3876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33533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9070443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0130636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975785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920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507BA1-EA97-432B-8AAE-BE8FEE6245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8350" cy="6858000"/>
          </a:xfrm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B23742-FE19-44B0-8D44-D7FECABB0B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1" t="5213" r="1956" b="16282"/>
          <a:stretch/>
        </p:blipFill>
        <p:spPr>
          <a:xfrm>
            <a:off x="0" y="0"/>
            <a:ext cx="121983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86918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333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708BA8-402D-4F08-9135-0A6E00FAA4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5471" r="-2" b="5471"/>
          <a:stretch/>
        </p:blipFill>
        <p:spPr>
          <a:xfrm>
            <a:off x="0" y="-10619"/>
            <a:ext cx="12198350" cy="6906742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0F23439F-947C-45D4-9E37-CEE008B5A5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29496" y="4902299"/>
            <a:ext cx="1225550" cy="1433449"/>
            <a:chOff x="6529" y="3125"/>
            <a:chExt cx="772" cy="904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38C2422-56BD-4AD4-A2FE-185104C42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722" tIns="50361" rIns="100722" bIns="5036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5372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B86C689-F201-4613-8661-03E74BEFA2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722" tIns="50361" rIns="100722" bIns="5036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5372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E97CEE7-2143-4ECF-A88B-E6BB42905BE4}"/>
              </a:ext>
            </a:extLst>
          </p:cNvPr>
          <p:cNvSpPr/>
          <p:nvPr userDrawn="1"/>
        </p:nvSpPr>
        <p:spPr>
          <a:xfrm>
            <a:off x="557384" y="795662"/>
            <a:ext cx="4930412" cy="3022538"/>
          </a:xfrm>
          <a:custGeom>
            <a:avLst/>
            <a:gdLst>
              <a:gd name="connsiteX0" fmla="*/ 4908077 w 4930412"/>
              <a:gd name="connsiteY0" fmla="*/ 0 h 3022538"/>
              <a:gd name="connsiteX1" fmla="*/ 4930412 w 4930412"/>
              <a:gd name="connsiteY1" fmla="*/ 0 h 3022538"/>
              <a:gd name="connsiteX2" fmla="*/ 4930412 w 4930412"/>
              <a:gd name="connsiteY2" fmla="*/ 3022538 h 3022538"/>
              <a:gd name="connsiteX3" fmla="*/ 0 w 4930412"/>
              <a:gd name="connsiteY3" fmla="*/ 3022538 h 3022538"/>
              <a:gd name="connsiteX4" fmla="*/ 0 w 4930412"/>
              <a:gd name="connsiteY4" fmla="*/ 865426 h 3022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412" h="3022538">
                <a:moveTo>
                  <a:pt x="4908077" y="0"/>
                </a:moveTo>
                <a:lnTo>
                  <a:pt x="4930412" y="0"/>
                </a:lnTo>
                <a:lnTo>
                  <a:pt x="4930412" y="3022538"/>
                </a:lnTo>
                <a:lnTo>
                  <a:pt x="0" y="3022538"/>
                </a:lnTo>
                <a:lnTo>
                  <a:pt x="0" y="865426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6" dirty="0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301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493889F-7783-43D1-8512-014D8B56E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21" y="294200"/>
            <a:ext cx="10978516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04E899D8-9988-401F-8E0C-36824688C3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93004" y="6356350"/>
            <a:ext cx="303371" cy="311150"/>
            <a:chOff x="7110" y="4004"/>
            <a:chExt cx="191" cy="196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8990ACBE-C107-426A-B896-1D48C9EE9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B059D0DF-1217-421A-AB73-5629245D6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ACC6BCA7-9CF9-4F85-8724-F067197D2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</p:grp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A8528B6-36B0-45E4-AE18-AC7188B13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21" y="1137920"/>
            <a:ext cx="1097851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30C2683-AD15-4CCE-B61F-3879BF070A0C}"/>
              </a:ext>
            </a:extLst>
          </p:cNvPr>
          <p:cNvCxnSpPr/>
          <p:nvPr userDrawn="1"/>
        </p:nvCxnSpPr>
        <p:spPr>
          <a:xfrm>
            <a:off x="622624" y="1012080"/>
            <a:ext cx="10973751" cy="0"/>
          </a:xfrm>
          <a:prstGeom prst="line">
            <a:avLst/>
          </a:prstGeom>
          <a:ln w="952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358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2">
          <p15:clr>
            <a:srgbClr val="FBAE40"/>
          </p15:clr>
        </p15:guide>
        <p15:guide id="3" pos="8040">
          <p15:clr>
            <a:srgbClr val="FBAE40"/>
          </p15:clr>
        </p15:guide>
        <p15:guide id="4" pos="3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1" y="0"/>
            <a:ext cx="597117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8" y="2578745"/>
            <a:ext cx="4537959" cy="1055708"/>
          </a:xfrm>
        </p:spPr>
        <p:txBody>
          <a:bodyPr/>
          <a:lstStyle>
            <a:lvl1pPr marL="0" indent="0">
              <a:buNone/>
              <a:defRPr sz="2994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8" y="3840384"/>
            <a:ext cx="4537959" cy="1055708"/>
          </a:xfrm>
        </p:spPr>
        <p:txBody>
          <a:bodyPr/>
          <a:lstStyle>
            <a:lvl1pPr marL="0" indent="0">
              <a:buNone/>
              <a:defRPr sz="1596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698E0F-C516-4EA3-9B7A-A60925844285}" type="datetime3">
              <a:rPr lang="en-US" smtClean="0"/>
              <a:t>8 March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GASL Meet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1537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8052468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85786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A361DEE-B17D-458B-89AA-E328FF532F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44120" cy="14395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196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C027C04-B1A4-4CF4-8826-BB00BC03D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568" y="479235"/>
            <a:ext cx="10487938" cy="533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196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55B23A-C511-4099-9FC7-6A995E52441A}"/>
              </a:ext>
            </a:extLst>
          </p:cNvPr>
          <p:cNvSpPr/>
          <p:nvPr userDrawn="1"/>
        </p:nvSpPr>
        <p:spPr>
          <a:xfrm>
            <a:off x="698500" y="479235"/>
            <a:ext cx="180000" cy="533400"/>
          </a:xfrm>
          <a:prstGeom prst="rect">
            <a:avLst/>
          </a:prstGeom>
          <a:solidFill>
            <a:srgbClr val="FFDC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AU" sz="1197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21825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559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4572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626" y="294202"/>
            <a:ext cx="10575261" cy="590400"/>
          </a:xfrm>
        </p:spPr>
        <p:txBody>
          <a:bodyPr/>
          <a:lstStyle>
            <a:lvl1pPr>
              <a:defRPr sz="207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625" y="907750"/>
            <a:ext cx="1057526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3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3371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82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028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624FA26-711D-4A40-8AB5-9E39614D7C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26" b="1483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81503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4867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29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79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386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2367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9585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035356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223233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05671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88088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1181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00507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10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616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2480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6128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157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323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041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0132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894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0789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294362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3119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37920"/>
            <a:ext cx="10980738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0489916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7221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221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786273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4414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650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581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1593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440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6410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8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470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0792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9393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5198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005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1921570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0548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784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624FA26-711D-4A40-8AB5-9E39614D7C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26" b="1483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12650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804044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5866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37920"/>
            <a:ext cx="10980738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142329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2141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2871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9920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6265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150614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243702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16845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364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5907378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752115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3046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126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0080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7490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3474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282411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2378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6015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99149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8240690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873581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072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2813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878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33775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404218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008689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385481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1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09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3E9075B3-954F-4542-99DC-9D38337796E8}"/>
              </a:ext>
            </a:extLst>
          </p:cNvPr>
          <p:cNvSpPr txBox="1">
            <a:spLocks/>
          </p:cNvSpPr>
          <p:nvPr userDrawn="1"/>
        </p:nvSpPr>
        <p:spPr>
          <a:xfrm>
            <a:off x="1352728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8 March 2021</a:t>
            </a:fld>
            <a:endParaRPr lang="en-IN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E280278-22FE-4F3D-8D37-B8FB096E9C4C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3"/>
            <a:ext cx="4687050" cy="1962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2250"/>
              </a:spcBef>
            </a:pPr>
            <a:r>
              <a: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Roboto"/>
              </a:rPr>
              <a:t>Idea submission for participants – Hackpions | EY GDS Hackath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F32248-941B-4E5E-A083-E4835B988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90" r:id="rId2"/>
    <p:sldLayoutId id="2147483825" r:id="rId3"/>
    <p:sldLayoutId id="2147483826" r:id="rId4"/>
    <p:sldLayoutId id="2147483827" r:id="rId5"/>
    <p:sldLayoutId id="2147483875" r:id="rId6"/>
    <p:sldLayoutId id="2147483873" r:id="rId7"/>
    <p:sldLayoutId id="2147483872" r:id="rId8"/>
    <p:sldLayoutId id="2147483828" r:id="rId9"/>
    <p:sldLayoutId id="2147483877" r:id="rId10"/>
    <p:sldLayoutId id="2147483876" r:id="rId11"/>
    <p:sldLayoutId id="2147483871" r:id="rId12"/>
    <p:sldLayoutId id="2147483829" r:id="rId13"/>
    <p:sldLayoutId id="2147483923" r:id="rId14"/>
    <p:sldLayoutId id="2147483921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74" r:id="rId25"/>
    <p:sldLayoutId id="2147483926" r:id="rId26"/>
    <p:sldLayoutId id="2147483839" r:id="rId27"/>
    <p:sldLayoutId id="2147483925" r:id="rId28"/>
    <p:sldLayoutId id="2147483840" r:id="rId29"/>
    <p:sldLayoutId id="2147483946" r:id="rId30"/>
    <p:sldLayoutId id="2147483947" r:id="rId31"/>
    <p:sldLayoutId id="2147483948" r:id="rId32"/>
    <p:sldLayoutId id="2147483949" r:id="rId33"/>
    <p:sldLayoutId id="2147483954" r:id="rId34"/>
    <p:sldLayoutId id="2147483955" r:id="rId35"/>
    <p:sldLayoutId id="2147483964" r:id="rId36"/>
    <p:sldLayoutId id="2147483966" r:id="rId3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45CFA693-E91B-43CC-B5B8-0AF459F62896}"/>
              </a:ext>
            </a:extLst>
          </p:cNvPr>
          <p:cNvSpPr txBox="1">
            <a:spLocks/>
          </p:cNvSpPr>
          <p:nvPr userDrawn="1"/>
        </p:nvSpPr>
        <p:spPr>
          <a:xfrm>
            <a:off x="1352728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8 March 2021</a:t>
            </a:fld>
            <a:endParaRPr lang="en-IN" dirty="0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E9F31D67-E59D-488B-A418-10B47029E471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3" r:id="rId11"/>
    <p:sldLayoutId id="2147483919" r:id="rId12"/>
    <p:sldLayoutId id="2147483922" r:id="rId13"/>
    <p:sldLayoutId id="2147483924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3E9075B3-954F-4542-99DC-9D38337796E8}"/>
              </a:ext>
            </a:extLst>
          </p:cNvPr>
          <p:cNvSpPr txBox="1">
            <a:spLocks/>
          </p:cNvSpPr>
          <p:nvPr userDrawn="1"/>
        </p:nvSpPr>
        <p:spPr>
          <a:xfrm>
            <a:off x="1352728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8 March 2021</a:t>
            </a:fld>
            <a:endParaRPr lang="en-IN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E280278-22FE-4F3D-8D37-B8FB096E9C4C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3"/>
            <a:ext cx="4687050" cy="1962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2250"/>
              </a:spcBef>
            </a:pPr>
            <a:r>
              <a: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Roboto"/>
              </a:rPr>
              <a:t>Idea submission for participants – Hackpions | EY GDS Hackath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1910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  <p:sldLayoutId id="2147484018" r:id="rId15"/>
    <p:sldLayoutId id="2147484019" r:id="rId16"/>
    <p:sldLayoutId id="2147484020" r:id="rId17"/>
    <p:sldLayoutId id="2147484021" r:id="rId18"/>
    <p:sldLayoutId id="2147484022" r:id="rId19"/>
    <p:sldLayoutId id="2147484023" r:id="rId20"/>
    <p:sldLayoutId id="2147484024" r:id="rId21"/>
    <p:sldLayoutId id="2147484025" r:id="rId22"/>
    <p:sldLayoutId id="2147484026" r:id="rId23"/>
    <p:sldLayoutId id="2147484027" r:id="rId24"/>
    <p:sldLayoutId id="2147484028" r:id="rId25"/>
    <p:sldLayoutId id="2147484029" r:id="rId26"/>
    <p:sldLayoutId id="2147484030" r:id="rId27"/>
    <p:sldLayoutId id="2147484031" r:id="rId28"/>
    <p:sldLayoutId id="2147484032" r:id="rId29"/>
    <p:sldLayoutId id="2147484033" r:id="rId30"/>
    <p:sldLayoutId id="2147484034" r:id="rId31"/>
    <p:sldLayoutId id="2147484035" r:id="rId32"/>
    <p:sldLayoutId id="2147484036" r:id="rId33"/>
    <p:sldLayoutId id="2147484038" r:id="rId34"/>
    <p:sldLayoutId id="2147484041" r:id="rId35"/>
    <p:sldLayoutId id="2147484042" r:id="rId36"/>
    <p:sldLayoutId id="2147484051" r:id="rId37"/>
    <p:sldLayoutId id="2147484053" r:id="rId38"/>
    <p:sldLayoutId id="2147484063" r:id="rId3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9F0B3B-F823-4C79-99C7-0B6B77BE9C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49157904"/>
              </p:ext>
            </p:extLst>
          </p:nvPr>
        </p:nvGraphicFramePr>
        <p:xfrm>
          <a:off x="1442" y="1440"/>
          <a:ext cx="1442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9F0B3B-F823-4C79-99C7-0B6B77BE9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2" y="1440"/>
                        <a:ext cx="1442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C8237B3-967B-4B67-A18F-6EDFC1435787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44120" cy="14395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21" y="294200"/>
            <a:ext cx="10978516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21" y="1137920"/>
            <a:ext cx="1097851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0DC4C75-4A95-4E13-B4FC-6A04C5E9EB3F}"/>
              </a:ext>
            </a:extLst>
          </p:cNvPr>
          <p:cNvSpPr txBox="1">
            <a:spLocks/>
          </p:cNvSpPr>
          <p:nvPr userDrawn="1"/>
        </p:nvSpPr>
        <p:spPr>
          <a:xfrm>
            <a:off x="611592" y="6473801"/>
            <a:ext cx="4897340" cy="15302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3340" rtl="0" eaLnBrk="1" latinLnBrk="0" hangingPunct="1">
              <a:defRPr lang="en-IN" sz="799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defTabSz="911719" rtl="0" eaLnBrk="1" latinLnBrk="0" hangingPunct="1"/>
            <a:r>
              <a:rPr lang="en-GB" sz="797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rPr>
              <a:t>Page </a:t>
            </a:r>
            <a:fld id="{F1BC30E3-FFE5-4B91-AA19-87A149EBB9EE}" type="slidenum">
              <a:rPr lang="en-IN" sz="797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rPr>
              <a:pPr marL="0" algn="l" defTabSz="911719" rtl="0" eaLnBrk="1" latinLnBrk="0" hangingPunct="1"/>
              <a:t>‹#›</a:t>
            </a:fld>
            <a:r>
              <a:rPr lang="en-IN" sz="797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rPr>
              <a:t> | </a:t>
            </a:r>
            <a:r>
              <a:rPr lang="en-IN" sz="797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ance Support for Microsoft Royalties Project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54F2A856-A60A-43A1-84E3-4E3BAB196BE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93004" y="6356350"/>
            <a:ext cx="303371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4FD6B6E2-3F8F-40F3-8FB4-60470B9C0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0946438F-355B-47AD-813E-35AFE7169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CE0BA4B-3BA9-4247-992B-19DB626BD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73985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</p:sldLayoutIdLst>
  <p:hf hdr="0"/>
  <p:txStyles>
    <p:titleStyle>
      <a:lvl1pPr algn="l" defTabSz="910558" rtl="0" eaLnBrk="1" latinLnBrk="0" hangingPunct="1">
        <a:lnSpc>
          <a:spcPct val="85000"/>
        </a:lnSpc>
        <a:spcBef>
          <a:spcPct val="0"/>
        </a:spcBef>
        <a:buNone/>
        <a:defRPr sz="239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5118" indent="-355118" algn="l" defTabSz="910558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1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0235" indent="-355118" algn="l" defTabSz="910558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5354" indent="-355118" algn="l" defTabSz="910558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0473" indent="-355118" algn="l" defTabSz="910558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4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75589" indent="-355118" algn="l" defTabSz="910558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04038" indent="-227639" algn="l" defTabSz="910558" rtl="0" eaLnBrk="1" latinLnBrk="0" hangingPunct="1">
        <a:spcBef>
          <a:spcPct val="20000"/>
        </a:spcBef>
        <a:buFont typeface="Arial" pitchFamily="34" charset="0"/>
        <a:buChar char="•"/>
        <a:defRPr sz="1991" kern="1200">
          <a:solidFill>
            <a:schemeClr val="tx1"/>
          </a:solidFill>
          <a:latin typeface="+mn-lt"/>
          <a:ea typeface="+mn-ea"/>
          <a:cs typeface="+mn-cs"/>
        </a:defRPr>
      </a:lvl6pPr>
      <a:lvl7pPr marL="2959316" indent="-227639" algn="l" defTabSz="910558" rtl="0" eaLnBrk="1" latinLnBrk="0" hangingPunct="1">
        <a:spcBef>
          <a:spcPct val="20000"/>
        </a:spcBef>
        <a:buFont typeface="Arial" pitchFamily="34" charset="0"/>
        <a:buChar char="•"/>
        <a:defRPr sz="1991" kern="1200">
          <a:solidFill>
            <a:schemeClr val="tx1"/>
          </a:solidFill>
          <a:latin typeface="+mn-lt"/>
          <a:ea typeface="+mn-ea"/>
          <a:cs typeface="+mn-cs"/>
        </a:defRPr>
      </a:lvl7pPr>
      <a:lvl8pPr marL="3414595" indent="-227639" algn="l" defTabSz="910558" rtl="0" eaLnBrk="1" latinLnBrk="0" hangingPunct="1">
        <a:spcBef>
          <a:spcPct val="20000"/>
        </a:spcBef>
        <a:buFont typeface="Arial" pitchFamily="34" charset="0"/>
        <a:buChar char="•"/>
        <a:defRPr sz="1991" kern="1200">
          <a:solidFill>
            <a:schemeClr val="tx1"/>
          </a:solidFill>
          <a:latin typeface="+mn-lt"/>
          <a:ea typeface="+mn-ea"/>
          <a:cs typeface="+mn-cs"/>
        </a:defRPr>
      </a:lvl8pPr>
      <a:lvl9pPr marL="3869877" indent="-227639" algn="l" defTabSz="910558" rtl="0" eaLnBrk="1" latinLnBrk="0" hangingPunct="1">
        <a:spcBef>
          <a:spcPct val="20000"/>
        </a:spcBef>
        <a:buFont typeface="Arial" pitchFamily="34" charset="0"/>
        <a:buChar char="•"/>
        <a:defRPr sz="19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1pPr>
      <a:lvl2pPr marL="455279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910558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3pPr>
      <a:lvl4pPr marL="1365838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4pPr>
      <a:lvl5pPr marL="1821118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5pPr>
      <a:lvl6pPr marL="2276398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731677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186957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642235" algn="l" defTabSz="910558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0.xml"/><Relationship Id="rId1" Type="http://schemas.openxmlformats.org/officeDocument/2006/relationships/themeOverride" Target="../theme/themeOverr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1FE148-1496-4D06-84BB-4B88599969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38773" y="9095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1FE148-1496-4D06-84BB-4B8859996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8773" y="9095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C6B6E38-36F3-4DDE-BFDC-5E48BDEB5B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37189" y="7510"/>
            <a:ext cx="158402" cy="15840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242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1E00810-DC7E-4CB0-8A0B-543C7369FC5B}"/>
              </a:ext>
            </a:extLst>
          </p:cNvPr>
          <p:cNvSpPr txBox="1">
            <a:spLocks/>
          </p:cNvSpPr>
          <p:nvPr/>
        </p:nvSpPr>
        <p:spPr>
          <a:xfrm>
            <a:off x="845250" y="1892277"/>
            <a:ext cx="4514150" cy="513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055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ts val="3300"/>
              </a:lnSpc>
            </a:pPr>
            <a:r>
              <a:rPr lang="en-IN" sz="2800" dirty="0">
                <a:solidFill>
                  <a:srgbClr val="2E2E38"/>
                </a:solidFill>
              </a:rPr>
              <a:t>Idea submission template for participants and </a:t>
            </a:r>
            <a:br>
              <a:rPr lang="en-IN" sz="2800" dirty="0">
                <a:solidFill>
                  <a:srgbClr val="2E2E38"/>
                </a:solidFill>
              </a:rPr>
            </a:br>
            <a:r>
              <a:rPr lang="en-IN" sz="2800" dirty="0">
                <a:solidFill>
                  <a:srgbClr val="2E2E38"/>
                </a:solidFill>
              </a:rPr>
              <a:t>EY GDS mentors</a:t>
            </a: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70A49D-B001-4F7B-A1BB-40549952771E}"/>
              </a:ext>
            </a:extLst>
          </p:cNvPr>
          <p:cNvSpPr txBox="1">
            <a:spLocks/>
          </p:cNvSpPr>
          <p:nvPr/>
        </p:nvSpPr>
        <p:spPr>
          <a:xfrm>
            <a:off x="845250" y="3299423"/>
            <a:ext cx="2654869" cy="32007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55118" indent="-355118" algn="l" defTabSz="910558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1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0235" indent="-355118" algn="l" defTabSz="910558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2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5354" indent="-355118" algn="l" defTabSz="910558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3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0473" indent="-355118" algn="l" defTabSz="910558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4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75589" indent="-355118" algn="l" defTabSz="910558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3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04038" indent="-227639" algn="l" defTabSz="910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316" indent="-227639" algn="l" defTabSz="910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595" indent="-227639" algn="l" defTabSz="910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877" indent="-227639" algn="l" defTabSz="910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ts val="1600"/>
              </a:lnSpc>
              <a:spcAft>
                <a:spcPts val="600"/>
              </a:spcAft>
              <a:buClr>
                <a:srgbClr val="FFE600"/>
              </a:buClr>
              <a:buNone/>
            </a:pPr>
            <a:r>
              <a:rPr lang="en-IN" sz="1600" dirty="0" err="1">
                <a:solidFill>
                  <a:srgbClr val="2E2E38"/>
                </a:solidFill>
                <a:latin typeface="EYInterstate" panose="02000503020000020004" pitchFamily="2" charset="0"/>
              </a:rPr>
              <a:t>Hackpions</a:t>
            </a:r>
            <a:r>
              <a:rPr lang="en-IN" sz="1600" dirty="0">
                <a:solidFill>
                  <a:srgbClr val="2E2E38"/>
                </a:solidFill>
                <a:latin typeface="EYInterstate" panose="02000503020000020004" pitchFamily="2" charset="0"/>
              </a:rPr>
              <a:t> 2.0 by EY GDS </a:t>
            </a:r>
          </a:p>
        </p:txBody>
      </p:sp>
    </p:spTree>
    <p:extLst>
      <p:ext uri="{BB962C8B-B14F-4D97-AF65-F5344CB8AC3E}">
        <p14:creationId xmlns:p14="http://schemas.microsoft.com/office/powerpoint/2010/main" val="1787156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73480D6-6C77-424E-A55F-26C3137F9935}"/>
              </a:ext>
            </a:extLst>
          </p:cNvPr>
          <p:cNvGrpSpPr/>
          <p:nvPr/>
        </p:nvGrpSpPr>
        <p:grpSpPr>
          <a:xfrm>
            <a:off x="612510" y="654971"/>
            <a:ext cx="3969015" cy="4799375"/>
            <a:chOff x="4378324" y="927100"/>
            <a:chExt cx="3241675" cy="4799375"/>
          </a:xfrm>
        </p:grpSpPr>
        <p:sp>
          <p:nvSpPr>
            <p:cNvPr id="13" name="Text Box 3">
              <a:extLst>
                <a:ext uri="{FF2B5EF4-FFF2-40B4-BE49-F238E27FC236}">
                  <a16:creationId xmlns:a16="http://schemas.microsoft.com/office/drawing/2014/main" id="{CFE2EE90-CD50-45A6-BE3D-B370AFE55B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8325" y="927100"/>
              <a:ext cx="1836738" cy="15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rnst &amp; Young LLP</a:t>
              </a:r>
              <a:endPara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14" name="Text Box 4">
              <a:extLst>
                <a:ext uri="{FF2B5EF4-FFF2-40B4-BE49-F238E27FC236}">
                  <a16:creationId xmlns:a16="http://schemas.microsoft.com/office/drawing/2014/main" id="{5AB3E70F-C415-4BFF-88D9-D5121FCEC2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8324" y="1155507"/>
              <a:ext cx="324167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EY</a:t>
              </a: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 </a:t>
              </a: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| Building a better working world</a:t>
              </a:r>
              <a:endPara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17" name="Text Box 5">
              <a:extLst>
                <a:ext uri="{FF2B5EF4-FFF2-40B4-BE49-F238E27FC236}">
                  <a16:creationId xmlns:a16="http://schemas.microsoft.com/office/drawing/2014/main" id="{EE17382B-55E5-4A55-81BD-C792E21DDB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8324" y="1460500"/>
              <a:ext cx="3186811" cy="2446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Y exists to build a better working world, helping to create long–term value for clients, people and society and build trust in the capital markets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nabled by data and technology, diverse EY teams in over 150 countries provide trust through assurance and help clients grow, transform and operat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Working across assurance, consulting, law, strategy, tax and transactions, EY teams ask better questions to find new answers for the complex issues facing our world today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Y refers to the global organiz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G member firms do not practice law where prohibited by local laws. For more information about our organization, please visit ey.com.</a:t>
              </a:r>
            </a:p>
          </p:txBody>
        </p:sp>
        <p:sp>
          <p:nvSpPr>
            <p:cNvPr id="18" name="Text Box 11">
              <a:extLst>
                <a:ext uri="{FF2B5EF4-FFF2-40B4-BE49-F238E27FC236}">
                  <a16:creationId xmlns:a16="http://schemas.microsoft.com/office/drawing/2014/main" id="{9B1F72D4-8BF2-47B9-BCD0-AFF6C1159A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8325" y="4033704"/>
              <a:ext cx="3186810" cy="1692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rnst &amp; Young LLP is one of the Indian client serving member firms of EYGM Limited. For more information about our organization, please visit www.ey.com/en_in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rnst &amp; Young LLP is a Limited Liability Partnership, registered under the Limited Liability Partnership Act, 2008 in India, having its registered office at 22 </a:t>
              </a:r>
              <a:r>
                <a:rPr kumimoji="0" lang="en-IN" altLang="en-US" sz="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Camac</a:t>
              </a: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 Street, 3rd Floor, Block C, Kolkata – 700016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© 2021 Ernst &amp; Young LLP. Published in India. </a:t>
              </a:r>
              <a:b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</a:b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All Rights Reserved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This publication contains information in summary form and is therefore intended for general guidance only. It is not intended to be a substitute for detailed research or the exercise of professional judgment. Neither EYGM Limited nor any other member of the global Ernst &amp; Young organization can accept any responsibility for loss occasioned to any person acting or refraining from action as a result of any material in this publication. On any specific matter, reference should be made to the appropriate advisor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ey.com</a:t>
              </a:r>
              <a:endParaRPr kumimoji="0" lang="en-I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9654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>
            <a:normAutofit fontScale="90000"/>
          </a:bodyPr>
          <a:lstStyle/>
          <a:p>
            <a:r>
              <a:rPr lang="en-IN" dirty="0"/>
              <a:t>Team name and member details</a:t>
            </a:r>
            <a:br>
              <a:rPr lang="en-IN" dirty="0"/>
            </a:br>
            <a:endParaRPr lang="en-IN" dirty="0"/>
          </a:p>
        </p:txBody>
      </p:sp>
      <p:graphicFrame>
        <p:nvGraphicFramePr>
          <p:cNvPr id="38" name="Content Placeholder 20">
            <a:extLst>
              <a:ext uri="{FF2B5EF4-FFF2-40B4-BE49-F238E27FC236}">
                <a16:creationId xmlns:a16="http://schemas.microsoft.com/office/drawing/2014/main" id="{C48B5C5C-37A9-4300-B3C0-F9BE781F2D5E}"/>
              </a:ext>
            </a:extLst>
          </p:cNvPr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1899495274"/>
              </p:ext>
            </p:extLst>
          </p:nvPr>
        </p:nvGraphicFramePr>
        <p:xfrm>
          <a:off x="609600" y="1132879"/>
          <a:ext cx="4824298" cy="1287183"/>
        </p:xfrm>
        <a:graphic>
          <a:graphicData uri="http://schemas.openxmlformats.org/drawingml/2006/table">
            <a:tbl>
              <a:tblPr firstRow="1" bandRow="1"/>
              <a:tblGrid>
                <a:gridCol w="317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6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90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1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Member 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90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2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Member 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90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3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YInterstate Light"/>
                        </a:defRPr>
                      </a:lvl9pPr>
                    </a:lstStyle>
                    <a:p>
                      <a:pPr algn="l"/>
                      <a:r>
                        <a:rPr lang="en-GB" sz="1600" b="0" dirty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</a:rPr>
                        <a:t>Member 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255BC48E-56CA-4AB5-8CEB-A9A8B29EF0E1}"/>
              </a:ext>
            </a:extLst>
          </p:cNvPr>
          <p:cNvSpPr/>
          <p:nvPr/>
        </p:nvSpPr>
        <p:spPr>
          <a:xfrm>
            <a:off x="609600" y="4023836"/>
            <a:ext cx="9673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eme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4EE65A-EFBE-423C-A8D2-45D733945232}"/>
              </a:ext>
            </a:extLst>
          </p:cNvPr>
          <p:cNvSpPr/>
          <p:nvPr/>
        </p:nvSpPr>
        <p:spPr>
          <a:xfrm>
            <a:off x="609600" y="4410670"/>
            <a:ext cx="9673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6764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545" y="294200"/>
            <a:ext cx="10978515" cy="590400"/>
          </a:xfrm>
        </p:spPr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76960"/>
            <a:ext cx="10978515" cy="271780"/>
          </a:xfrm>
        </p:spPr>
        <p:txBody>
          <a:bodyPr/>
          <a:lstStyle/>
          <a:p>
            <a:pPr marL="0" indent="0">
              <a:buNone/>
            </a:pPr>
            <a:r>
              <a:rPr lang="en-IN" dirty="0"/>
              <a:t>Define the exact problem that you intend to solve.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52CEA04-9512-4F44-8488-CC68DB636453}"/>
              </a:ext>
            </a:extLst>
          </p:cNvPr>
          <p:cNvSpPr txBox="1">
            <a:spLocks/>
          </p:cNvSpPr>
          <p:nvPr/>
        </p:nvSpPr>
        <p:spPr>
          <a:xfrm>
            <a:off x="609918" y="1741972"/>
            <a:ext cx="10978515" cy="41254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[Not more than 250 words]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5600E-04DB-4A6D-8112-874982CFB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2910D3-748F-4B93-A6AF-E10B5723C9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076960"/>
            <a:ext cx="10978515" cy="4947920"/>
          </a:xfrm>
        </p:spPr>
        <p:txBody>
          <a:bodyPr/>
          <a:lstStyle/>
          <a:p>
            <a:pPr marL="263525" indent="-263525"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</a:pPr>
            <a:r>
              <a:rPr lang="en-IN" sz="1900" dirty="0"/>
              <a:t>Explain, in brief, how you intend to solve the problem at hand.</a:t>
            </a:r>
          </a:p>
          <a:p>
            <a:pPr marL="263525" indent="-263525"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</a:pPr>
            <a:r>
              <a:rPr lang="en-IN" sz="1900" dirty="0"/>
              <a:t>Please include the following: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How it helps to solve the problem?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What are the impact metrics that one can use to </a:t>
            </a:r>
            <a:r>
              <a:rPr lang="en-US" sz="1700" dirty="0"/>
              <a:t>analyze</a:t>
            </a:r>
            <a:r>
              <a:rPr lang="en-IN" sz="1700" dirty="0"/>
              <a:t> the effect of the solution?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Frameworks, tools and technologies stacks to be used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Assumptions, constraints and solution decision points (reasons behind choosing a technology)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How easily can your solution be implemented and how effective will it be?</a:t>
            </a:r>
          </a:p>
          <a:p>
            <a:pPr marL="538163" lvl="1" indent="-274638">
              <a:buSzPct val="100000"/>
              <a:buFont typeface="EYInterstate Light" panose="02000506000000020004" pitchFamily="2" charset="0"/>
              <a:buChar char="•"/>
            </a:pPr>
            <a:r>
              <a:rPr lang="en-IN" sz="1700" dirty="0"/>
              <a:t>Extent of scalability and usability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866377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2A9F1-3153-4575-9F29-C3E4CC3D4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53BF736-6B42-48E7-A629-F2E1D7A3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4643120"/>
            <a:ext cx="6488306" cy="1205230"/>
          </a:xfrm>
        </p:spPr>
        <p:txBody>
          <a:bodyPr/>
          <a:lstStyle/>
          <a:p>
            <a:pPr marL="0" indent="0">
              <a:buNone/>
            </a:pPr>
            <a:r>
              <a:rPr lang="en-IN" sz="1800" dirty="0"/>
              <a:t>Please note: upload the documents (e.g., .pdf, .docx, .</a:t>
            </a:r>
            <a:r>
              <a:rPr lang="en-IN" sz="1800" dirty="0" err="1"/>
              <a:t>vsd</a:t>
            </a:r>
            <a:r>
              <a:rPr lang="en-IN" sz="1800" dirty="0"/>
              <a:t> etc.) directly on the platform. However, the links can be inserted or attached in this PowerPoint template.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E95F8C5-716A-4619-B4CE-C904CCF1AC69}"/>
              </a:ext>
            </a:extLst>
          </p:cNvPr>
          <p:cNvSpPr txBox="1">
            <a:spLocks/>
          </p:cNvSpPr>
          <p:nvPr/>
        </p:nvSpPr>
        <p:spPr>
          <a:xfrm>
            <a:off x="587376" y="1246672"/>
            <a:ext cx="7156449" cy="3049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rgbClr val="FFE600"/>
              </a:buClr>
              <a:buNone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[Include </a:t>
            </a:r>
            <a:r>
              <a:rPr lang="en-IN" sz="1800" dirty="0"/>
              <a:t>concept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, principles, elements and components.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98B4F8-90D1-4907-B355-FA3876E2C925}"/>
              </a:ext>
            </a:extLst>
          </p:cNvPr>
          <p:cNvSpPr/>
          <p:nvPr/>
        </p:nvSpPr>
        <p:spPr>
          <a:xfrm>
            <a:off x="7870508" y="1246672"/>
            <a:ext cx="4246562" cy="2712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3525" lvl="0" indent="-263525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Architecture diagram</a:t>
            </a:r>
          </a:p>
          <a:p>
            <a:pPr marL="263525" lvl="0" indent="-263525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Flow chart</a:t>
            </a:r>
          </a:p>
          <a:p>
            <a:pPr marL="263525" lvl="0" indent="-263525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Wireframes</a:t>
            </a:r>
          </a:p>
          <a:p>
            <a:pPr marL="263525" lvl="0" indent="-263525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Graphical representation</a:t>
            </a:r>
          </a:p>
          <a:p>
            <a:pPr lvl="0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     (Bar graph, histogram, </a:t>
            </a:r>
            <a:b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</a:b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     pie charts and heatmaps)</a:t>
            </a:r>
          </a:p>
          <a:p>
            <a:pPr marL="263525" lvl="0" indent="-263525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SzPct val="100000"/>
              <a:buFont typeface="EYInterstate Light" panose="02000506000000020004" pitchFamily="2" charset="0"/>
              <a:buChar char="•"/>
              <a:tabLst>
                <a:tab pos="263525" algn="l"/>
              </a:tabLst>
              <a:defRPr/>
            </a:pPr>
            <a:r>
              <a:rPr lang="en-IN" sz="1900" dirty="0">
                <a:solidFill>
                  <a:schemeClr val="bg1"/>
                </a:solidFill>
                <a:latin typeface="EYInterstate Light" panose="02000506000000020004" pitchFamily="2" charset="0"/>
              </a:rPr>
              <a:t>Analysis and visualization</a:t>
            </a:r>
          </a:p>
        </p:txBody>
      </p:sp>
    </p:spTree>
    <p:extLst>
      <p:ext uri="{BB962C8B-B14F-4D97-AF65-F5344CB8AC3E}">
        <p14:creationId xmlns:p14="http://schemas.microsoft.com/office/powerpoint/2010/main" val="2279480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1FE22-046F-4700-B8E8-556E9925F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architecture proposa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8B59F9-F519-4405-9CD3-4AB33E647332}"/>
              </a:ext>
            </a:extLst>
          </p:cNvPr>
          <p:cNvSpPr txBox="1">
            <a:spLocks/>
          </p:cNvSpPr>
          <p:nvPr/>
        </p:nvSpPr>
        <p:spPr>
          <a:xfrm>
            <a:off x="609919" y="1246672"/>
            <a:ext cx="8114982" cy="44397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rgbClr val="FFE600"/>
              </a:buClr>
              <a:buNone/>
              <a:defRPr/>
            </a:pPr>
            <a:r>
              <a:rPr lang="en-IN" sz="1800" dirty="0">
                <a:solidFill>
                  <a:prstClr val="white"/>
                </a:solidFill>
              </a:rPr>
              <a:t>[Data </a:t>
            </a:r>
            <a:r>
              <a:rPr lang="en-IN" sz="1800" dirty="0"/>
              <a:t>flow diagram, ER diagram, system architecture diagram, integration proposals, etc.]</a:t>
            </a:r>
          </a:p>
        </p:txBody>
      </p:sp>
    </p:spTree>
    <p:extLst>
      <p:ext uri="{BB962C8B-B14F-4D97-AF65-F5344CB8AC3E}">
        <p14:creationId xmlns:p14="http://schemas.microsoft.com/office/powerpoint/2010/main" val="33657340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D6641-99E0-4FAB-A2D0-E11C96BDF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prototyp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8A3ABEB-8787-4ACD-B3B8-DFE5D1138D35}"/>
              </a:ext>
            </a:extLst>
          </p:cNvPr>
          <p:cNvSpPr txBox="1">
            <a:spLocks/>
          </p:cNvSpPr>
          <p:nvPr/>
        </p:nvSpPr>
        <p:spPr>
          <a:xfrm>
            <a:off x="609918" y="1246672"/>
            <a:ext cx="10982007" cy="44397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rgbClr val="FFE600"/>
              </a:buClr>
              <a:buNone/>
              <a:defRPr/>
            </a:pPr>
            <a:r>
              <a:rPr lang="en-IN" sz="1800" dirty="0">
                <a:solidFill>
                  <a:prstClr val="white"/>
                </a:solidFill>
              </a:rPr>
              <a:t>[</a:t>
            </a:r>
            <a:r>
              <a:rPr lang="en-IN" sz="1800" dirty="0"/>
              <a:t>Attach video and </a:t>
            </a:r>
            <a:r>
              <a:rPr lang="en-IN" sz="1800" dirty="0">
                <a:solidFill>
                  <a:prstClr val="white"/>
                </a:solidFill>
              </a:rPr>
              <a:t>link for demo]</a:t>
            </a:r>
          </a:p>
        </p:txBody>
      </p:sp>
    </p:spTree>
    <p:extLst>
      <p:ext uri="{BB962C8B-B14F-4D97-AF65-F5344CB8AC3E}">
        <p14:creationId xmlns:p14="http://schemas.microsoft.com/office/powerpoint/2010/main" val="375064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8497B-0C31-42D1-A834-0C0529CC4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achm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4172AAC-3E8B-4182-B083-40FEFBF81651}"/>
              </a:ext>
            </a:extLst>
          </p:cNvPr>
          <p:cNvSpPr txBox="1">
            <a:spLocks/>
          </p:cNvSpPr>
          <p:nvPr/>
        </p:nvSpPr>
        <p:spPr>
          <a:xfrm>
            <a:off x="609918" y="1246672"/>
            <a:ext cx="10982007" cy="44397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rgbClr val="FFE600"/>
              </a:buClr>
              <a:buNone/>
              <a:defRPr/>
            </a:pPr>
            <a:r>
              <a:rPr lang="en-IN" sz="1800" dirty="0"/>
              <a:t>[App wireframe, screenshots, ER diagrams, GitHub repo, etc.]</a:t>
            </a:r>
          </a:p>
        </p:txBody>
      </p:sp>
    </p:spTree>
    <p:extLst>
      <p:ext uri="{BB962C8B-B14F-4D97-AF65-F5344CB8AC3E}">
        <p14:creationId xmlns:p14="http://schemas.microsoft.com/office/powerpoint/2010/main" val="1884950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gray">
          <a:xfrm>
            <a:off x="0" y="0"/>
            <a:ext cx="6022975" cy="53340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803275" y="1427554"/>
            <a:ext cx="4987925" cy="860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400" b="0" dirty="0">
                <a:solidFill>
                  <a:srgbClr val="2E2E38"/>
                </a:solidFill>
                <a:latin typeface="+mj-lt"/>
              </a:rPr>
              <a:t>Thank You</a:t>
            </a:r>
          </a:p>
          <a:p>
            <a:pPr>
              <a:spcAft>
                <a:spcPts val="600"/>
              </a:spcAft>
            </a:pPr>
            <a:r>
              <a:rPr lang="sv-SE" b="0" dirty="0">
                <a:solidFill>
                  <a:srgbClr val="2E2E38"/>
                </a:solidFill>
                <a:latin typeface="+mj-lt"/>
              </a:rPr>
              <a:t>Hackpions</a:t>
            </a:r>
          </a:p>
          <a:p>
            <a:pPr>
              <a:spcAft>
                <a:spcPts val="600"/>
              </a:spcAft>
            </a:pPr>
            <a:r>
              <a:rPr lang="sv-SE" b="0" dirty="0">
                <a:solidFill>
                  <a:srgbClr val="2E2E38"/>
                </a:solidFill>
                <a:latin typeface="+mj-lt"/>
              </a:rPr>
              <a:t>GDS ES Hackathon</a:t>
            </a:r>
          </a:p>
          <a:p>
            <a:pPr>
              <a:spcAft>
                <a:spcPts val="600"/>
              </a:spcAft>
            </a:pPr>
            <a:r>
              <a:rPr lang="sv-SE" b="0" dirty="0">
                <a:solidFill>
                  <a:srgbClr val="2E2E38"/>
                </a:solidFill>
                <a:latin typeface="+mj-lt"/>
              </a:rPr>
              <a:t>(edition 3)</a:t>
            </a:r>
          </a:p>
          <a:p>
            <a:endParaRPr lang="en-GB" b="0" dirty="0">
              <a:solidFill>
                <a:srgbClr val="2E2E38"/>
              </a:solidFill>
              <a:latin typeface="+mj-l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6765" y="6356223"/>
            <a:ext cx="304114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56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9pIkU1yaVatY15DrF2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hyR_7DZDjEGOQc.xNr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2PBv_8Sf6mYVnU0DcJMQ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4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Y Color">
    <a:dk1>
      <a:srgbClr val="2E2E38"/>
    </a:dk1>
    <a:lt1>
      <a:sysClr val="window" lastClr="FFFFFF"/>
    </a:lt1>
    <a:dk2>
      <a:srgbClr val="FFE600"/>
    </a:dk2>
    <a:lt2>
      <a:srgbClr val="000000"/>
    </a:lt2>
    <a:accent1>
      <a:srgbClr val="2DB757"/>
    </a:accent1>
    <a:accent2>
      <a:srgbClr val="27ACAA"/>
    </a:accent2>
    <a:accent3>
      <a:srgbClr val="188CE5"/>
    </a:accent3>
    <a:accent4>
      <a:srgbClr val="3D108A"/>
    </a:accent4>
    <a:accent5>
      <a:srgbClr val="FF4136"/>
    </a:accent5>
    <a:accent6>
      <a:srgbClr val="FF6D00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933D21DE350342977724DE90A76625" ma:contentTypeVersion="13" ma:contentTypeDescription="Create a new document." ma:contentTypeScope="" ma:versionID="ac96395442d1f6f0d77150d35491a012">
  <xsd:schema xmlns:xsd="http://www.w3.org/2001/XMLSchema" xmlns:xs="http://www.w3.org/2001/XMLSchema" xmlns:p="http://schemas.microsoft.com/office/2006/metadata/properties" xmlns:ns3="b99ab036-cb9f-4989-82be-0be345153ef5" xmlns:ns4="dd16b3ce-e69c-4eaf-9223-d494bfcab4fd" targetNamespace="http://schemas.microsoft.com/office/2006/metadata/properties" ma:root="true" ma:fieldsID="26c5785d89ef327abcb6df94215b27a0" ns3:_="" ns4:_="">
    <xsd:import namespace="b99ab036-cb9f-4989-82be-0be345153ef5"/>
    <xsd:import namespace="dd16b3ce-e69c-4eaf-9223-d494bfcab4f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9ab036-cb9f-4989-82be-0be345153e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16b3ce-e69c-4eaf-9223-d494bfcab4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216AB6F-8E23-457C-82DC-A26F3DA6249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18A52D-1737-4514-A1CE-A2157292BA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9ab036-cb9f-4989-82be-0be345153ef5"/>
    <ds:schemaRef ds:uri="dd16b3ce-e69c-4eaf-9223-d494bfcab4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A7849B-22F2-46FB-AEC8-A3BF0E46DAB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67</Words>
  <Application>Microsoft Office PowerPoint</Application>
  <PresentationFormat>Custom</PresentationFormat>
  <Paragraphs>59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EYInterstate</vt:lpstr>
      <vt:lpstr>EYInterstate Light</vt:lpstr>
      <vt:lpstr>Georgia</vt:lpstr>
      <vt:lpstr>Wingdings</vt:lpstr>
      <vt:lpstr>EY dark background</vt:lpstr>
      <vt:lpstr>EY light background</vt:lpstr>
      <vt:lpstr>1_EY dark background</vt:lpstr>
      <vt:lpstr>24_EY dark background</vt:lpstr>
      <vt:lpstr>think-cell Slide</vt:lpstr>
      <vt:lpstr>PowerPoint Presentation</vt:lpstr>
      <vt:lpstr>Team name and member details </vt:lpstr>
      <vt:lpstr>Problem statement</vt:lpstr>
      <vt:lpstr>Solution</vt:lpstr>
      <vt:lpstr>Methodology</vt:lpstr>
      <vt:lpstr>System architecture proposal</vt:lpstr>
      <vt:lpstr>Working prototype</vt:lpstr>
      <vt:lpstr>Attachment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3-16T05:57:48Z</dcterms:created>
  <dcterms:modified xsi:type="dcterms:W3CDTF">2021-03-08T11:25:05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933D21DE350342977724DE90A76625</vt:lpwstr>
  </property>
</Properties>
</file>